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6"/>
  </p:notesMasterIdLst>
  <p:handoutMasterIdLst>
    <p:handoutMasterId r:id="rId7"/>
  </p:handoutMasterIdLst>
  <p:sldIdLst>
    <p:sldId id="359" r:id="rId5"/>
  </p:sldIdLst>
  <p:sldSz cx="9144000" cy="5143500" type="screen16x9"/>
  <p:notesSz cx="6797675" cy="9926638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90" userDrawn="1">
          <p15:clr>
            <a:srgbClr val="A4A3A4"/>
          </p15:clr>
        </p15:guide>
        <p15:guide id="2" pos="284" userDrawn="1">
          <p15:clr>
            <a:srgbClr val="A4A3A4"/>
          </p15:clr>
        </p15:guide>
        <p15:guide id="3" pos="2824" userDrawn="1">
          <p15:clr>
            <a:srgbClr val="A4A3A4"/>
          </p15:clr>
        </p15:guide>
        <p15:guide id="4" pos="2936" userDrawn="1">
          <p15:clr>
            <a:srgbClr val="A4A3A4"/>
          </p15:clr>
        </p15:guide>
        <p15:guide id="6" orient="horz" pos="781" userDrawn="1">
          <p15:clr>
            <a:srgbClr val="A4A3A4"/>
          </p15:clr>
        </p15:guide>
        <p15:guide id="7" pos="54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617" autoAdjust="0"/>
    <p:restoredTop sz="94423" autoAdjust="0"/>
  </p:normalViewPr>
  <p:slideViewPr>
    <p:cSldViewPr snapToGrid="0" showGuides="1">
      <p:cViewPr>
        <p:scale>
          <a:sx n="143" d="100"/>
          <a:sy n="143" d="100"/>
        </p:scale>
        <p:origin x="2032" y="928"/>
      </p:cViewPr>
      <p:guideLst>
        <p:guide orient="horz" pos="2890"/>
        <p:guide pos="284"/>
        <p:guide pos="2824"/>
        <p:guide pos="2936"/>
        <p:guide orient="horz" pos="781"/>
        <p:guide pos="547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40"/>
    </p:cViewPr>
  </p:sorterViewPr>
  <p:notesViewPr>
    <p:cSldViewPr snapToGrid="0" showGuides="1">
      <p:cViewPr>
        <p:scale>
          <a:sx n="75" d="100"/>
          <a:sy n="75" d="100"/>
        </p:scale>
        <p:origin x="2964" y="33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sabell Kochbeck" userId="b22f5054-883d-4591-acfe-4377c0908908" providerId="ADAL" clId="{46C82791-6315-4DD7-BBA9-44F7729BD4EC}"/>
    <pc:docChg chg="undo redo custSel addSld modSld">
      <pc:chgData name="Isabell Kochbeck" userId="b22f5054-883d-4591-acfe-4377c0908908" providerId="ADAL" clId="{46C82791-6315-4DD7-BBA9-44F7729BD4EC}" dt="2023-10-19T14:31:54.738" v="7" actId="207"/>
      <pc:docMkLst>
        <pc:docMk/>
      </pc:docMkLst>
      <pc:sldChg chg="addSp delSp modSp add mod">
        <pc:chgData name="Isabell Kochbeck" userId="b22f5054-883d-4591-acfe-4377c0908908" providerId="ADAL" clId="{46C82791-6315-4DD7-BBA9-44F7729BD4EC}" dt="2023-10-19T14:31:54.738" v="7" actId="207"/>
        <pc:sldMkLst>
          <pc:docMk/>
          <pc:sldMk cId="842745390" sldId="363"/>
        </pc:sldMkLst>
        <pc:spChg chg="mod">
          <ac:chgData name="Isabell Kochbeck" userId="b22f5054-883d-4591-acfe-4377c0908908" providerId="ADAL" clId="{46C82791-6315-4DD7-BBA9-44F7729BD4EC}" dt="2023-10-19T14:31:54.738" v="7" actId="207"/>
          <ac:spMkLst>
            <pc:docMk/>
            <pc:sldMk cId="842745390" sldId="363"/>
            <ac:spMk id="41" creationId="{167FD367-9090-D6D6-EA0E-B94510EC470E}"/>
          </ac:spMkLst>
        </pc:spChg>
        <pc:picChg chg="add del mod">
          <ac:chgData name="Isabell Kochbeck" userId="b22f5054-883d-4591-acfe-4377c0908908" providerId="ADAL" clId="{46C82791-6315-4DD7-BBA9-44F7729BD4EC}" dt="2023-10-19T14:30:18.597" v="2" actId="478"/>
          <ac:picMkLst>
            <pc:docMk/>
            <pc:sldMk cId="842745390" sldId="363"/>
            <ac:picMk id="9" creationId="{D3C4C42D-0E3F-D203-CE13-DD72AA3CED73}"/>
          </ac:picMkLst>
        </pc:picChg>
      </pc:sldChg>
    </pc:docChg>
  </pc:docChgLst>
  <pc:docChgLst>
    <pc:chgData name="Susanne Kunzelmann" userId="460bbbb8-bd33-4b02-9649-52f5bccb28ee" providerId="ADAL" clId="{1E207725-D6F3-4CD1-BBC1-A24DE0E9B383}"/>
    <pc:docChg chg="delSld">
      <pc:chgData name="Susanne Kunzelmann" userId="460bbbb8-bd33-4b02-9649-52f5bccb28ee" providerId="ADAL" clId="{1E207725-D6F3-4CD1-BBC1-A24DE0E9B383}" dt="2023-10-23T08:56:54.153" v="2" actId="47"/>
      <pc:docMkLst>
        <pc:docMk/>
      </pc:docMkLst>
      <pc:sldChg chg="del">
        <pc:chgData name="Susanne Kunzelmann" userId="460bbbb8-bd33-4b02-9649-52f5bccb28ee" providerId="ADAL" clId="{1E207725-D6F3-4CD1-BBC1-A24DE0E9B383}" dt="2023-10-23T08:56:54.153" v="2" actId="47"/>
        <pc:sldMkLst>
          <pc:docMk/>
          <pc:sldMk cId="913624908" sldId="256"/>
        </pc:sldMkLst>
      </pc:sldChg>
      <pc:sldChg chg="del">
        <pc:chgData name="Susanne Kunzelmann" userId="460bbbb8-bd33-4b02-9649-52f5bccb28ee" providerId="ADAL" clId="{1E207725-D6F3-4CD1-BBC1-A24DE0E9B383}" dt="2023-10-23T08:56:48.355" v="0" actId="47"/>
        <pc:sldMkLst>
          <pc:docMk/>
          <pc:sldMk cId="1254262216" sldId="361"/>
        </pc:sldMkLst>
      </pc:sldChg>
      <pc:sldChg chg="del">
        <pc:chgData name="Susanne Kunzelmann" userId="460bbbb8-bd33-4b02-9649-52f5bccb28ee" providerId="ADAL" clId="{1E207725-D6F3-4CD1-BBC1-A24DE0E9B383}" dt="2023-10-23T08:56:51.406" v="1" actId="47"/>
        <pc:sldMkLst>
          <pc:docMk/>
          <pc:sldMk cId="842745390" sldId="363"/>
        </pc:sldMkLst>
      </pc:sldChg>
    </pc:docChg>
  </pc:docChgLst>
  <pc:docChgLst>
    <pc:chgData name="Susanne Kunzelmann" userId="460bbbb8-bd33-4b02-9649-52f5bccb28ee" providerId="ADAL" clId="{A4E53E89-8DF1-4FD7-9B36-D36779AA6A48}"/>
    <pc:docChg chg="undo custSel addSld delSld modSld">
      <pc:chgData name="Susanne Kunzelmann" userId="460bbbb8-bd33-4b02-9649-52f5bccb28ee" providerId="ADAL" clId="{A4E53E89-8DF1-4FD7-9B36-D36779AA6A48}" dt="2023-10-19T11:20:17.393" v="370" actId="790"/>
      <pc:docMkLst>
        <pc:docMk/>
      </pc:docMkLst>
      <pc:sldChg chg="addSp delSp modSp mod">
        <pc:chgData name="Susanne Kunzelmann" userId="460bbbb8-bd33-4b02-9649-52f5bccb28ee" providerId="ADAL" clId="{A4E53E89-8DF1-4FD7-9B36-D36779AA6A48}" dt="2023-10-17T14:04:22.035" v="74" actId="20577"/>
        <pc:sldMkLst>
          <pc:docMk/>
          <pc:sldMk cId="3913131166" sldId="359"/>
        </pc:sldMkLst>
        <pc:spChg chg="mod topLvl">
          <ac:chgData name="Susanne Kunzelmann" userId="460bbbb8-bd33-4b02-9649-52f5bccb28ee" providerId="ADAL" clId="{A4E53E89-8DF1-4FD7-9B36-D36779AA6A48}" dt="2023-10-17T13:27:26.087" v="22" actId="207"/>
          <ac:spMkLst>
            <pc:docMk/>
            <pc:sldMk cId="3913131166" sldId="359"/>
            <ac:spMk id="30" creationId="{E8C71417-280C-96C0-140C-5EA16856497C}"/>
          </ac:spMkLst>
        </pc:spChg>
        <pc:spChg chg="mod topLvl">
          <ac:chgData name="Susanne Kunzelmann" userId="460bbbb8-bd33-4b02-9649-52f5bccb28ee" providerId="ADAL" clId="{A4E53E89-8DF1-4FD7-9B36-D36779AA6A48}" dt="2023-10-17T13:27:22.536" v="21" actId="165"/>
          <ac:spMkLst>
            <pc:docMk/>
            <pc:sldMk cId="3913131166" sldId="359"/>
            <ac:spMk id="32" creationId="{CC831F9C-DF1A-8CBB-762C-F7913AEC01FA}"/>
          </ac:spMkLst>
        </pc:spChg>
        <pc:spChg chg="mod">
          <ac:chgData name="Susanne Kunzelmann" userId="460bbbb8-bd33-4b02-9649-52f5bccb28ee" providerId="ADAL" clId="{A4E53E89-8DF1-4FD7-9B36-D36779AA6A48}" dt="2023-10-17T14:04:22.035" v="74" actId="20577"/>
          <ac:spMkLst>
            <pc:docMk/>
            <pc:sldMk cId="3913131166" sldId="359"/>
            <ac:spMk id="33" creationId="{F8CF6431-86CE-A155-289D-EFB56411CAD8}"/>
          </ac:spMkLst>
        </pc:spChg>
        <pc:spChg chg="del">
          <ac:chgData name="Susanne Kunzelmann" userId="460bbbb8-bd33-4b02-9649-52f5bccb28ee" providerId="ADAL" clId="{A4E53E89-8DF1-4FD7-9B36-D36779AA6A48}" dt="2023-10-17T13:37:37.106" v="26" actId="478"/>
          <ac:spMkLst>
            <pc:docMk/>
            <pc:sldMk cId="3913131166" sldId="359"/>
            <ac:spMk id="34" creationId="{52650D13-424D-79B8-DF29-F637A2A1AAB4}"/>
          </ac:spMkLst>
        </pc:spChg>
        <pc:spChg chg="mod modCrop">
          <ac:chgData name="Susanne Kunzelmann" userId="460bbbb8-bd33-4b02-9649-52f5bccb28ee" providerId="ADAL" clId="{A4E53E89-8DF1-4FD7-9B36-D36779AA6A48}" dt="2023-10-17T13:38:31.090" v="28" actId="18654"/>
          <ac:spMkLst>
            <pc:docMk/>
            <pc:sldMk cId="3913131166" sldId="359"/>
            <ac:spMk id="41" creationId="{167FD367-9090-D6D6-EA0E-B94510EC470E}"/>
          </ac:spMkLst>
        </pc:spChg>
        <pc:spChg chg="add mod">
          <ac:chgData name="Susanne Kunzelmann" userId="460bbbb8-bd33-4b02-9649-52f5bccb28ee" providerId="ADAL" clId="{A4E53E89-8DF1-4FD7-9B36-D36779AA6A48}" dt="2023-10-17T13:25:50.694" v="15" actId="1038"/>
          <ac:spMkLst>
            <pc:docMk/>
            <pc:sldMk cId="3913131166" sldId="359"/>
            <ac:spMk id="49" creationId="{F31A7D80-1B67-0CB8-82E7-5C76F4D6C315}"/>
          </ac:spMkLst>
        </pc:spChg>
        <pc:grpChg chg="del mod">
          <ac:chgData name="Susanne Kunzelmann" userId="460bbbb8-bd33-4b02-9649-52f5bccb28ee" providerId="ADAL" clId="{A4E53E89-8DF1-4FD7-9B36-D36779AA6A48}" dt="2023-10-17T13:27:13.267" v="19" actId="165"/>
          <ac:grpSpMkLst>
            <pc:docMk/>
            <pc:sldMk cId="3913131166" sldId="359"/>
            <ac:grpSpMk id="26" creationId="{5351995D-0382-9D59-A887-612532B523CB}"/>
          </ac:grpSpMkLst>
        </pc:grpChg>
        <pc:grpChg chg="del">
          <ac:chgData name="Susanne Kunzelmann" userId="460bbbb8-bd33-4b02-9649-52f5bccb28ee" providerId="ADAL" clId="{A4E53E89-8DF1-4FD7-9B36-D36779AA6A48}" dt="2023-10-17T13:27:22.536" v="21" actId="165"/>
          <ac:grpSpMkLst>
            <pc:docMk/>
            <pc:sldMk cId="3913131166" sldId="359"/>
            <ac:grpSpMk id="29" creationId="{D26CE686-96FC-95A5-CD52-E90FBBB87F2C}"/>
          </ac:grpSpMkLst>
        </pc:grpChg>
        <pc:picChg chg="mod topLvl">
          <ac:chgData name="Susanne Kunzelmann" userId="460bbbb8-bd33-4b02-9649-52f5bccb28ee" providerId="ADAL" clId="{A4E53E89-8DF1-4FD7-9B36-D36779AA6A48}" dt="2023-10-17T13:27:16.601" v="20" actId="207"/>
          <ac:picMkLst>
            <pc:docMk/>
            <pc:sldMk cId="3913131166" sldId="359"/>
            <ac:picMk id="27" creationId="{5F616804-2DAA-C207-DA4F-70F0ED29B04B}"/>
          </ac:picMkLst>
        </pc:picChg>
        <pc:picChg chg="mod topLvl">
          <ac:chgData name="Susanne Kunzelmann" userId="460bbbb8-bd33-4b02-9649-52f5bccb28ee" providerId="ADAL" clId="{A4E53E89-8DF1-4FD7-9B36-D36779AA6A48}" dt="2023-10-17T13:27:13.267" v="19" actId="165"/>
          <ac:picMkLst>
            <pc:docMk/>
            <pc:sldMk cId="3913131166" sldId="359"/>
            <ac:picMk id="28" creationId="{61FECE4E-66A5-9F06-23F6-64EBD7D653FA}"/>
          </ac:picMkLst>
        </pc:picChg>
        <pc:picChg chg="mod topLvl">
          <ac:chgData name="Susanne Kunzelmann" userId="460bbbb8-bd33-4b02-9649-52f5bccb28ee" providerId="ADAL" clId="{A4E53E89-8DF1-4FD7-9B36-D36779AA6A48}" dt="2023-10-17T13:27:22.536" v="21" actId="165"/>
          <ac:picMkLst>
            <pc:docMk/>
            <pc:sldMk cId="3913131166" sldId="359"/>
            <ac:picMk id="31" creationId="{78B953F5-D12A-D8A4-8F89-7BE031A1A4D4}"/>
          </ac:picMkLst>
        </pc:picChg>
        <pc:picChg chg="del">
          <ac:chgData name="Susanne Kunzelmann" userId="460bbbb8-bd33-4b02-9649-52f5bccb28ee" providerId="ADAL" clId="{A4E53E89-8DF1-4FD7-9B36-D36779AA6A48}" dt="2023-10-17T13:41:11.951" v="30" actId="478"/>
          <ac:picMkLst>
            <pc:docMk/>
            <pc:sldMk cId="3913131166" sldId="359"/>
            <ac:picMk id="37" creationId="{EBB5D0B1-8A23-9AD1-8C34-A38DB7A4762F}"/>
          </ac:picMkLst>
        </pc:picChg>
        <pc:cxnChg chg="del">
          <ac:chgData name="Susanne Kunzelmann" userId="460bbbb8-bd33-4b02-9649-52f5bccb28ee" providerId="ADAL" clId="{A4E53E89-8DF1-4FD7-9B36-D36779AA6A48}" dt="2023-10-17T13:41:10.253" v="29" actId="478"/>
          <ac:cxnSpMkLst>
            <pc:docMk/>
            <pc:sldMk cId="3913131166" sldId="359"/>
            <ac:cxnSpMk id="47" creationId="{E6FD4EDE-D02F-949D-B3CE-1E1DFE0E7C0F}"/>
          </ac:cxnSpMkLst>
        </pc:cxnChg>
      </pc:sldChg>
      <pc:sldChg chg="addSp modSp add mod">
        <pc:chgData name="Susanne Kunzelmann" userId="460bbbb8-bd33-4b02-9649-52f5bccb28ee" providerId="ADAL" clId="{A4E53E89-8DF1-4FD7-9B36-D36779AA6A48}" dt="2023-10-19T08:56:03.395" v="291" actId="6549"/>
        <pc:sldMkLst>
          <pc:docMk/>
          <pc:sldMk cId="873181948" sldId="360"/>
        </pc:sldMkLst>
        <pc:spChg chg="add mod">
          <ac:chgData name="Susanne Kunzelmann" userId="460bbbb8-bd33-4b02-9649-52f5bccb28ee" providerId="ADAL" clId="{A4E53E89-8DF1-4FD7-9B36-D36779AA6A48}" dt="2023-10-19T07:16:26.538" v="286" actId="207"/>
          <ac:spMkLst>
            <pc:docMk/>
            <pc:sldMk cId="873181948" sldId="360"/>
            <ac:spMk id="6" creationId="{8D343EED-1462-44FE-B26B-FA9F8E9594FB}"/>
          </ac:spMkLst>
        </pc:spChg>
        <pc:spChg chg="add mod">
          <ac:chgData name="Susanne Kunzelmann" userId="460bbbb8-bd33-4b02-9649-52f5bccb28ee" providerId="ADAL" clId="{A4E53E89-8DF1-4FD7-9B36-D36779AA6A48}" dt="2023-10-17T14:12:48.708" v="210" actId="1036"/>
          <ac:spMkLst>
            <pc:docMk/>
            <pc:sldMk cId="873181948" sldId="360"/>
            <ac:spMk id="7" creationId="{408614DB-1DA2-952E-69B8-5DC475E32127}"/>
          </ac:spMkLst>
        </pc:spChg>
        <pc:spChg chg="mod">
          <ac:chgData name="Susanne Kunzelmann" userId="460bbbb8-bd33-4b02-9649-52f5bccb28ee" providerId="ADAL" clId="{A4E53E89-8DF1-4FD7-9B36-D36779AA6A48}" dt="2023-10-19T07:16:18.353" v="274" actId="207"/>
          <ac:spMkLst>
            <pc:docMk/>
            <pc:sldMk cId="873181948" sldId="360"/>
            <ac:spMk id="23" creationId="{4EADF573-E4D9-6BB7-CB38-B92FADF7A6BF}"/>
          </ac:spMkLst>
        </pc:spChg>
        <pc:spChg chg="mod">
          <ac:chgData name="Susanne Kunzelmann" userId="460bbbb8-bd33-4b02-9649-52f5bccb28ee" providerId="ADAL" clId="{A4E53E89-8DF1-4FD7-9B36-D36779AA6A48}" dt="2023-10-19T08:56:03.395" v="291" actId="6549"/>
          <ac:spMkLst>
            <pc:docMk/>
            <pc:sldMk cId="873181948" sldId="360"/>
            <ac:spMk id="25" creationId="{CB155D99-B1B1-1BE4-D2CF-3F6606894657}"/>
          </ac:spMkLst>
        </pc:spChg>
        <pc:spChg chg="mod">
          <ac:chgData name="Susanne Kunzelmann" userId="460bbbb8-bd33-4b02-9649-52f5bccb28ee" providerId="ADAL" clId="{A4E53E89-8DF1-4FD7-9B36-D36779AA6A48}" dt="2023-10-17T14:14:08.534" v="231" actId="207"/>
          <ac:spMkLst>
            <pc:docMk/>
            <pc:sldMk cId="873181948" sldId="360"/>
            <ac:spMk id="30" creationId="{E8C71417-280C-96C0-140C-5EA16856497C}"/>
          </ac:spMkLst>
        </pc:spChg>
        <pc:spChg chg="mod">
          <ac:chgData name="Susanne Kunzelmann" userId="460bbbb8-bd33-4b02-9649-52f5bccb28ee" providerId="ADAL" clId="{A4E53E89-8DF1-4FD7-9B36-D36779AA6A48}" dt="2023-10-17T14:04:18.508" v="73" actId="20577"/>
          <ac:spMkLst>
            <pc:docMk/>
            <pc:sldMk cId="873181948" sldId="360"/>
            <ac:spMk id="33" creationId="{F8CF6431-86CE-A155-289D-EFB56411CAD8}"/>
          </ac:spMkLst>
        </pc:spChg>
        <pc:spChg chg="mod modCrop">
          <ac:chgData name="Susanne Kunzelmann" userId="460bbbb8-bd33-4b02-9649-52f5bccb28ee" providerId="ADAL" clId="{A4E53E89-8DF1-4FD7-9B36-D36779AA6A48}" dt="2023-10-17T14:02:58.326" v="35" actId="18131"/>
          <ac:spMkLst>
            <pc:docMk/>
            <pc:sldMk cId="873181948" sldId="360"/>
            <ac:spMk id="41" creationId="{167FD367-9090-D6D6-EA0E-B94510EC470E}"/>
          </ac:spMkLst>
        </pc:spChg>
        <pc:spChg chg="mod">
          <ac:chgData name="Susanne Kunzelmann" userId="460bbbb8-bd33-4b02-9649-52f5bccb28ee" providerId="ADAL" clId="{A4E53E89-8DF1-4FD7-9B36-D36779AA6A48}" dt="2023-10-17T14:13:36.782" v="226" actId="1038"/>
          <ac:spMkLst>
            <pc:docMk/>
            <pc:sldMk cId="873181948" sldId="360"/>
            <ac:spMk id="49" creationId="{F31A7D80-1B67-0CB8-82E7-5C76F4D6C315}"/>
          </ac:spMkLst>
        </pc:spChg>
        <pc:picChg chg="add mod ord">
          <ac:chgData name="Susanne Kunzelmann" userId="460bbbb8-bd33-4b02-9649-52f5bccb28ee" providerId="ADAL" clId="{A4E53E89-8DF1-4FD7-9B36-D36779AA6A48}" dt="2023-10-17T14:12:26.769" v="190" actId="1076"/>
          <ac:picMkLst>
            <pc:docMk/>
            <pc:sldMk cId="873181948" sldId="360"/>
            <ac:picMk id="2" creationId="{70239A77-8CEC-BD85-C373-36F46F51D7CB}"/>
          </ac:picMkLst>
        </pc:picChg>
        <pc:picChg chg="add mod ord">
          <ac:chgData name="Susanne Kunzelmann" userId="460bbbb8-bd33-4b02-9649-52f5bccb28ee" providerId="ADAL" clId="{A4E53E89-8DF1-4FD7-9B36-D36779AA6A48}" dt="2023-10-17T14:13:12.521" v="214" actId="1076"/>
          <ac:picMkLst>
            <pc:docMk/>
            <pc:sldMk cId="873181948" sldId="360"/>
            <ac:picMk id="3" creationId="{E1974DDB-27A9-52A6-485E-C83C8C94E57F}"/>
          </ac:picMkLst>
        </pc:picChg>
        <pc:picChg chg="add mod ord">
          <ac:chgData name="Susanne Kunzelmann" userId="460bbbb8-bd33-4b02-9649-52f5bccb28ee" providerId="ADAL" clId="{A4E53E89-8DF1-4FD7-9B36-D36779AA6A48}" dt="2023-10-17T14:13:15.825" v="215" actId="1076"/>
          <ac:picMkLst>
            <pc:docMk/>
            <pc:sldMk cId="873181948" sldId="360"/>
            <ac:picMk id="4" creationId="{786AB89A-0D01-8CED-4B72-3B86EC9B7FBB}"/>
          </ac:picMkLst>
        </pc:picChg>
        <pc:picChg chg="add mod ord">
          <ac:chgData name="Susanne Kunzelmann" userId="460bbbb8-bd33-4b02-9649-52f5bccb28ee" providerId="ADAL" clId="{A4E53E89-8DF1-4FD7-9B36-D36779AA6A48}" dt="2023-10-19T08:38:27.698" v="288" actId="1076"/>
          <ac:picMkLst>
            <pc:docMk/>
            <pc:sldMk cId="873181948" sldId="360"/>
            <ac:picMk id="5" creationId="{FB2F9997-2586-8209-8B73-1549C60E4086}"/>
          </ac:picMkLst>
        </pc:picChg>
        <pc:picChg chg="mod">
          <ac:chgData name="Susanne Kunzelmann" userId="460bbbb8-bd33-4b02-9649-52f5bccb28ee" providerId="ADAL" clId="{A4E53E89-8DF1-4FD7-9B36-D36779AA6A48}" dt="2023-10-17T14:14:02.122" v="230" actId="207"/>
          <ac:picMkLst>
            <pc:docMk/>
            <pc:sldMk cId="873181948" sldId="360"/>
            <ac:picMk id="27" creationId="{5F616804-2DAA-C207-DA4F-70F0ED29B04B}"/>
          </ac:picMkLst>
        </pc:picChg>
      </pc:sldChg>
      <pc:sldChg chg="del">
        <pc:chgData name="Susanne Kunzelmann" userId="460bbbb8-bd33-4b02-9649-52f5bccb28ee" providerId="ADAL" clId="{A4E53E89-8DF1-4FD7-9B36-D36779AA6A48}" dt="2023-10-17T13:43:29.900" v="31" actId="47"/>
        <pc:sldMkLst>
          <pc:docMk/>
          <pc:sldMk cId="3122859571" sldId="360"/>
        </pc:sldMkLst>
      </pc:sldChg>
      <pc:sldChg chg="modSp add mod">
        <pc:chgData name="Susanne Kunzelmann" userId="460bbbb8-bd33-4b02-9649-52f5bccb28ee" providerId="ADAL" clId="{A4E53E89-8DF1-4FD7-9B36-D36779AA6A48}" dt="2023-10-19T07:15:16.853" v="237" actId="18654"/>
        <pc:sldMkLst>
          <pc:docMk/>
          <pc:sldMk cId="1254262216" sldId="361"/>
        </pc:sldMkLst>
        <pc:spChg chg="mod modCrop">
          <ac:chgData name="Susanne Kunzelmann" userId="460bbbb8-bd33-4b02-9649-52f5bccb28ee" providerId="ADAL" clId="{A4E53E89-8DF1-4FD7-9B36-D36779AA6A48}" dt="2023-10-19T07:15:16.853" v="237" actId="18654"/>
          <ac:spMkLst>
            <pc:docMk/>
            <pc:sldMk cId="1254262216" sldId="361"/>
            <ac:spMk id="41" creationId="{167FD367-9090-D6D6-EA0E-B94510EC470E}"/>
          </ac:spMkLst>
        </pc:spChg>
      </pc:sldChg>
      <pc:sldChg chg="addSp delSp modSp add mod">
        <pc:chgData name="Susanne Kunzelmann" userId="460bbbb8-bd33-4b02-9649-52f5bccb28ee" providerId="ADAL" clId="{A4E53E89-8DF1-4FD7-9B36-D36779AA6A48}" dt="2023-10-19T11:20:17.393" v="370" actId="790"/>
        <pc:sldMkLst>
          <pc:docMk/>
          <pc:sldMk cId="3875746384" sldId="362"/>
        </pc:sldMkLst>
        <pc:spChg chg="mod">
          <ac:chgData name="Susanne Kunzelmann" userId="460bbbb8-bd33-4b02-9649-52f5bccb28ee" providerId="ADAL" clId="{A4E53E89-8DF1-4FD7-9B36-D36779AA6A48}" dt="2023-10-19T11:20:17.393" v="370" actId="790"/>
          <ac:spMkLst>
            <pc:docMk/>
            <pc:sldMk cId="3875746384" sldId="362"/>
            <ac:spMk id="25" creationId="{CB155D99-B1B1-1BE4-D2CF-3F6606894657}"/>
          </ac:spMkLst>
        </pc:spChg>
        <pc:spChg chg="mod">
          <ac:chgData name="Susanne Kunzelmann" userId="460bbbb8-bd33-4b02-9649-52f5bccb28ee" providerId="ADAL" clId="{A4E53E89-8DF1-4FD7-9B36-D36779AA6A48}" dt="2023-10-19T11:19:01.919" v="366" actId="14100"/>
          <ac:spMkLst>
            <pc:docMk/>
            <pc:sldMk cId="3875746384" sldId="362"/>
            <ac:spMk id="33" creationId="{F8CF6431-86CE-A155-289D-EFB56411CAD8}"/>
          </ac:spMkLst>
        </pc:spChg>
        <pc:spChg chg="mod modCrop">
          <ac:chgData name="Susanne Kunzelmann" userId="460bbbb8-bd33-4b02-9649-52f5bccb28ee" providerId="ADAL" clId="{A4E53E89-8DF1-4FD7-9B36-D36779AA6A48}" dt="2023-10-19T11:16:24.061" v="304" actId="18131"/>
          <ac:spMkLst>
            <pc:docMk/>
            <pc:sldMk cId="3875746384" sldId="362"/>
            <ac:spMk id="41" creationId="{167FD367-9090-D6D6-EA0E-B94510EC470E}"/>
          </ac:spMkLst>
        </pc:spChg>
        <pc:spChg chg="mod">
          <ac:chgData name="Susanne Kunzelmann" userId="460bbbb8-bd33-4b02-9649-52f5bccb28ee" providerId="ADAL" clId="{A4E53E89-8DF1-4FD7-9B36-D36779AA6A48}" dt="2023-10-19T11:19:59.767" v="369" actId="207"/>
          <ac:spMkLst>
            <pc:docMk/>
            <pc:sldMk cId="3875746384" sldId="362"/>
            <ac:spMk id="49" creationId="{F31A7D80-1B67-0CB8-82E7-5C76F4D6C315}"/>
          </ac:spMkLst>
        </pc:spChg>
        <pc:picChg chg="add mod">
          <ac:chgData name="Susanne Kunzelmann" userId="460bbbb8-bd33-4b02-9649-52f5bccb28ee" providerId="ADAL" clId="{A4E53E89-8DF1-4FD7-9B36-D36779AA6A48}" dt="2023-10-19T11:09:02.264" v="302" actId="1076"/>
          <ac:picMkLst>
            <pc:docMk/>
            <pc:sldMk cId="3875746384" sldId="362"/>
            <ac:picMk id="3" creationId="{DFAF5119-77E9-F0C8-9445-BFF3107E2469}"/>
          </ac:picMkLst>
        </pc:picChg>
        <pc:picChg chg="del">
          <ac:chgData name="Susanne Kunzelmann" userId="460bbbb8-bd33-4b02-9649-52f5bccb28ee" providerId="ADAL" clId="{A4E53E89-8DF1-4FD7-9B36-D36779AA6A48}" dt="2023-10-19T11:08:57.326" v="301" actId="478"/>
          <ac:picMkLst>
            <pc:docMk/>
            <pc:sldMk cId="3875746384" sldId="362"/>
            <ac:picMk id="43" creationId="{417EFC77-A484-D0BC-7D1A-F88EAE699922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DBFC116-0A75-42B5-A04E-F8BD0D6498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9B0CF9B-D954-42B7-B17E-338E3FF69C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D7338C-558B-4699-B3FB-1110B8EA4586}" type="datetimeFigureOut">
              <a:rPr lang="de-DE" smtClean="0"/>
              <a:t>26.10.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54D72FA-85CC-4596-9FF4-9ED4A04B2BB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88BB88-0E94-40AD-91D8-222A3B335C8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7DA3FD-D6B2-4777-A342-E12BB081EB6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86936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12F3CF-33A8-431F-AD91-991887D9CE92}" type="datetimeFigureOut">
              <a:rPr lang="en-US" smtClean="0"/>
              <a:t>10/26/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69925" y="923925"/>
            <a:ext cx="5457825" cy="3070225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625" y="4297189"/>
            <a:ext cx="6034426" cy="480658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4F251E-0D5E-4CFD-ACCC-9623B92A1BF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776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defTabSz="685800" rtl="0" eaLnBrk="1" latinLnBrk="0" hangingPunct="1">
      <a:buClr>
        <a:schemeClr val="accent2"/>
      </a:buClr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953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43895693-C381-1E89-04C1-EDFE02B60128}"/>
              </a:ext>
            </a:extLst>
          </p:cNvPr>
          <p:cNvSpPr/>
          <p:nvPr userDrawn="1"/>
        </p:nvSpPr>
        <p:spPr>
          <a:xfrm>
            <a:off x="0" y="0"/>
            <a:ext cx="5685183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>
            <a:noAutofit/>
          </a:bodyPr>
          <a:lstStyle/>
          <a:p>
            <a:pPr algn="l"/>
            <a:endParaRPr lang="de-DE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6739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Freihandform 20">
            <a:extLst>
              <a:ext uri="{FF2B5EF4-FFF2-40B4-BE49-F238E27FC236}">
                <a16:creationId xmlns:a16="http://schemas.microsoft.com/office/drawing/2014/main" id="{A950E5D6-89B1-3A41-EEF0-59C948175E9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478696" y="0"/>
            <a:ext cx="5665304" cy="5143500"/>
          </a:xfrm>
          <a:custGeom>
            <a:avLst/>
            <a:gdLst>
              <a:gd name="connsiteX0" fmla="*/ 217004 w 5665304"/>
              <a:gd name="connsiteY0" fmla="*/ 0 h 5143500"/>
              <a:gd name="connsiteX1" fmla="*/ 5665304 w 5665304"/>
              <a:gd name="connsiteY1" fmla="*/ 0 h 5143500"/>
              <a:gd name="connsiteX2" fmla="*/ 5665304 w 5665304"/>
              <a:gd name="connsiteY2" fmla="*/ 5143500 h 5143500"/>
              <a:gd name="connsiteX3" fmla="*/ 217004 w 5665304"/>
              <a:gd name="connsiteY3" fmla="*/ 5143500 h 5143500"/>
              <a:gd name="connsiteX4" fmla="*/ 217004 w 5665304"/>
              <a:gd name="connsiteY4" fmla="*/ 2338652 h 5143500"/>
              <a:gd name="connsiteX5" fmla="*/ 0 w 5665304"/>
              <a:gd name="connsiteY5" fmla="*/ 2121649 h 5143500"/>
              <a:gd name="connsiteX6" fmla="*/ 0 w 5665304"/>
              <a:gd name="connsiteY6" fmla="*/ 2110471 h 5143500"/>
              <a:gd name="connsiteX7" fmla="*/ 217004 w 5665304"/>
              <a:gd name="connsiteY7" fmla="*/ 1893467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65304" h="5143500">
                <a:moveTo>
                  <a:pt x="217004" y="0"/>
                </a:moveTo>
                <a:lnTo>
                  <a:pt x="5665304" y="0"/>
                </a:lnTo>
                <a:lnTo>
                  <a:pt x="5665304" y="5143500"/>
                </a:lnTo>
                <a:lnTo>
                  <a:pt x="217004" y="5143500"/>
                </a:lnTo>
                <a:lnTo>
                  <a:pt x="217004" y="2338652"/>
                </a:lnTo>
                <a:lnTo>
                  <a:pt x="0" y="2121649"/>
                </a:lnTo>
                <a:lnTo>
                  <a:pt x="0" y="2110471"/>
                </a:lnTo>
                <a:lnTo>
                  <a:pt x="217004" y="1893467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/>
          <a:p>
            <a:endParaRPr lang="de-DE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1B48D4E9-3E0A-782D-FED4-EB289155CBA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11689" y="327016"/>
            <a:ext cx="1093491" cy="546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090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9494226-E554-4FC7-B318-8585A96BFA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0789700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9494226-E554-4FC7-B318-8585A96BF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3E8200DA-6877-4A0D-B76D-424E7DEE2674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3B86E61B-1555-4B54-8C51-D0C2BAEE3892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DB04EBDB-6A7B-41F4-9D21-500C86167CBD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24C53E18-2E52-4A5A-BFE9-6E211A587297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46A5D2C9-8E80-4F2D-99C8-9C39CD844AC8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044A3345-E6E7-4E61-8442-D39B7168205E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31827FFE-80B9-477D-96AE-EAAD5AAE8410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B0D40870-2C76-4F71-BD42-6EFF05528E0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F4B1C61-34C8-45DA-AB77-603DA8383E83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9A6AC9FD-F403-4379-8988-3954EBD52BDF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88E6779E-0635-4B7F-803D-E85697035A83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99D28C8A-CB08-4192-ABDD-A23FBD188DF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7E377B75-8EB1-4F25-8C6A-A135AD88514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3A6A6AF1-A6BE-4274-B88F-8252F09C734B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2ECDE6AF-4A10-46FF-B72E-92A482B3035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0BD9BC89-0BDB-4EBC-BE38-E58CB965319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007804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sldNum="0"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180975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898525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3" userDrawn="1">
          <p15:clr>
            <a:srgbClr val="F26B43"/>
          </p15:clr>
        </p15:guide>
        <p15:guide id="2" pos="2824" userDrawn="1">
          <p15:clr>
            <a:srgbClr val="F26B43"/>
          </p15:clr>
        </p15:guide>
        <p15:guide id="3" pos="2936" userDrawn="1">
          <p15:clr>
            <a:srgbClr val="F26B43"/>
          </p15:clr>
        </p15:guide>
        <p15:guide id="4" pos="5476" userDrawn="1">
          <p15:clr>
            <a:srgbClr val="F26B43"/>
          </p15:clr>
        </p15:guide>
        <p15:guide id="5" orient="horz" pos="781" userDrawn="1">
          <p15:clr>
            <a:srgbClr val="F26B43"/>
          </p15:clr>
        </p15:guide>
        <p15:guide id="6" orient="horz" pos="2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Freihandform: Form 40">
            <a:extLst>
              <a:ext uri="{FF2B5EF4-FFF2-40B4-BE49-F238E27FC236}">
                <a16:creationId xmlns:a16="http://schemas.microsoft.com/office/drawing/2014/main" id="{167FD367-9090-D6D6-EA0E-B94510EC470E}"/>
              </a:ext>
            </a:extLst>
          </p:cNvPr>
          <p:cNvSpPr>
            <a:spLocks noChangeAspect="1"/>
          </p:cNvSpPr>
          <p:nvPr/>
        </p:nvSpPr>
        <p:spPr>
          <a:xfrm rot="2700000">
            <a:off x="2816074" y="-1114674"/>
            <a:ext cx="7372652" cy="7372652"/>
          </a:xfrm>
          <a:custGeom>
            <a:avLst/>
            <a:gdLst>
              <a:gd name="connsiteX0" fmla="*/ 0 w 7372652"/>
              <a:gd name="connsiteY0" fmla="*/ 3735787 h 7372652"/>
              <a:gd name="connsiteX1" fmla="*/ 3735787 w 7372652"/>
              <a:gd name="connsiteY1" fmla="*/ 0 h 7372652"/>
              <a:gd name="connsiteX2" fmla="*/ 7372652 w 7372652"/>
              <a:gd name="connsiteY2" fmla="*/ 3636865 h 7372652"/>
              <a:gd name="connsiteX3" fmla="*/ 3636865 w 7372652"/>
              <a:gd name="connsiteY3" fmla="*/ 7372652 h 7372652"/>
              <a:gd name="connsiteX4" fmla="*/ 1685853 w 7372652"/>
              <a:gd name="connsiteY4" fmla="*/ 5421640 h 7372652"/>
              <a:gd name="connsiteX5" fmla="*/ 1336628 w 7372652"/>
              <a:gd name="connsiteY5" fmla="*/ 5421640 h 7372652"/>
              <a:gd name="connsiteX6" fmla="*/ 1336628 w 7372652"/>
              <a:gd name="connsiteY6" fmla="*/ 5072415 h 7372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72652" h="7372652">
                <a:moveTo>
                  <a:pt x="0" y="3735787"/>
                </a:moveTo>
                <a:lnTo>
                  <a:pt x="3735787" y="0"/>
                </a:lnTo>
                <a:lnTo>
                  <a:pt x="7372652" y="3636865"/>
                </a:lnTo>
                <a:lnTo>
                  <a:pt x="3636865" y="7372652"/>
                </a:lnTo>
                <a:lnTo>
                  <a:pt x="1685853" y="5421640"/>
                </a:lnTo>
                <a:lnTo>
                  <a:pt x="1336628" y="5421640"/>
                </a:lnTo>
                <a:lnTo>
                  <a:pt x="1336628" y="5072415"/>
                </a:lnTo>
                <a:close/>
              </a:path>
            </a:pathLst>
          </a:custGeom>
          <a:blipFill dpi="0" rotWithShape="0">
            <a:blip r:embed="rId2"/>
            <a:srcRect/>
            <a:stretch>
              <a:fillRect l="-19753" r="-1975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t">
            <a:noAutofit/>
          </a:bodyPr>
          <a:lstStyle/>
          <a:p>
            <a:pPr algn="l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F31A7D80-1B67-0CB8-82E7-5C76F4D6C315}"/>
              </a:ext>
            </a:extLst>
          </p:cNvPr>
          <p:cNvSpPr txBox="1"/>
          <p:nvPr/>
        </p:nvSpPr>
        <p:spPr>
          <a:xfrm rot="16200000">
            <a:off x="8463706" y="4387955"/>
            <a:ext cx="1130118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600" b="0" i="0" u="none" strike="noStrike" baseline="0" noProof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dobeStock© U-JINN Photography</a:t>
            </a:r>
            <a:endParaRPr lang="de-DE" sz="600" noProof="1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2" name="Bildplatzhalter 1">
            <a:extLst>
              <a:ext uri="{FF2B5EF4-FFF2-40B4-BE49-F238E27FC236}">
                <a16:creationId xmlns:a16="http://schemas.microsoft.com/office/drawing/2014/main" id="{237A7435-7BCF-8D78-0F62-E5336E2D5DC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10840995-3CDE-C270-CF7C-5DF575334322}"/>
              </a:ext>
            </a:extLst>
          </p:cNvPr>
          <p:cNvGrpSpPr/>
          <p:nvPr/>
        </p:nvGrpSpPr>
        <p:grpSpPr>
          <a:xfrm>
            <a:off x="311689" y="4378422"/>
            <a:ext cx="3076970" cy="452576"/>
            <a:chOff x="2189908" y="4573703"/>
            <a:chExt cx="2447566" cy="360000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A24BA16F-E98D-C4AF-3CA1-57F70843AB85}"/>
                </a:ext>
              </a:extLst>
            </p:cNvPr>
            <p:cNvSpPr/>
            <p:nvPr/>
          </p:nvSpPr>
          <p:spPr>
            <a:xfrm>
              <a:off x="2189908" y="4573703"/>
              <a:ext cx="2447566" cy="360000"/>
            </a:xfrm>
            <a:prstGeom prst="rect">
              <a:avLst/>
            </a:prstGeom>
            <a:solidFill>
              <a:srgbClr val="E40D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928E51E6-34C3-E431-97C7-96036AEFD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292778" y="4623151"/>
              <a:ext cx="216000" cy="244422"/>
            </a:xfrm>
            <a:prstGeom prst="rect">
              <a:avLst/>
            </a:prstGeom>
          </p:spPr>
        </p:pic>
      </p:grpSp>
      <p:sp>
        <p:nvSpPr>
          <p:cNvPr id="6" name="Titelplatzhalter 18">
            <a:extLst>
              <a:ext uri="{FF2B5EF4-FFF2-40B4-BE49-F238E27FC236}">
                <a16:creationId xmlns:a16="http://schemas.microsoft.com/office/drawing/2014/main" id="{A2BE81BF-9CA7-4116-D781-29D0D834B78C}"/>
              </a:ext>
            </a:extLst>
          </p:cNvPr>
          <p:cNvSpPr txBox="1">
            <a:spLocks/>
          </p:cNvSpPr>
          <p:nvPr/>
        </p:nvSpPr>
        <p:spPr>
          <a:xfrm>
            <a:off x="311690" y="1215046"/>
            <a:ext cx="2690132" cy="183553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3240"/>
              </a:lnSpc>
            </a:pPr>
            <a:r>
              <a:rPr lang="de-DE" sz="3200" b="1" noProof="1">
                <a:solidFill>
                  <a:srgbClr val="003366"/>
                </a:solidFill>
                <a:latin typeface="Source Sans Pro" panose="020B0503030403020204" pitchFamily="34" charset="0"/>
              </a:rPr>
              <a:t>Hier steht </a:t>
            </a:r>
          </a:p>
          <a:p>
            <a:pPr>
              <a:lnSpc>
                <a:spcPts val="3240"/>
              </a:lnSpc>
            </a:pPr>
            <a:r>
              <a:rPr lang="de-DE" sz="3200" b="1" noProof="1">
                <a:solidFill>
                  <a:srgbClr val="003366"/>
                </a:solidFill>
                <a:latin typeface="Source Sans Pro" panose="020B0503030403020204" pitchFamily="34" charset="0"/>
              </a:rPr>
              <a:t>der Titel der Veranstaltung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860C6A2-CAD6-3A89-7324-B79731CE0792}"/>
              </a:ext>
            </a:extLst>
          </p:cNvPr>
          <p:cNvGrpSpPr/>
          <p:nvPr/>
        </p:nvGrpSpPr>
        <p:grpSpPr>
          <a:xfrm>
            <a:off x="311689" y="3265044"/>
            <a:ext cx="842013" cy="842013"/>
            <a:chOff x="2255736" y="3549856"/>
            <a:chExt cx="900000" cy="900000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0094F17C-754A-C518-0D5E-5A0E597DF3D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55736" y="3549856"/>
              <a:ext cx="900000" cy="900000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FF20CA26-CD29-7ED7-4260-D0F1A8BAB74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463279" y="3707970"/>
              <a:ext cx="491352" cy="531818"/>
            </a:xfrm>
            <a:prstGeom prst="rect">
              <a:avLst/>
            </a:prstGeom>
          </p:spPr>
        </p:pic>
      </p:grpSp>
      <p:sp>
        <p:nvSpPr>
          <p:cNvPr id="10" name="Textplatzhalter 53">
            <a:extLst>
              <a:ext uri="{FF2B5EF4-FFF2-40B4-BE49-F238E27FC236}">
                <a16:creationId xmlns:a16="http://schemas.microsoft.com/office/drawing/2014/main" id="{3B3E2DC1-899B-77DB-913C-A383C5449156}"/>
              </a:ext>
            </a:extLst>
          </p:cNvPr>
          <p:cNvSpPr txBox="1">
            <a:spLocks/>
          </p:cNvSpPr>
          <p:nvPr/>
        </p:nvSpPr>
        <p:spPr>
          <a:xfrm>
            <a:off x="1304067" y="3343631"/>
            <a:ext cx="2174629" cy="84201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2000" b="1" kern="1200">
                <a:solidFill>
                  <a:srgbClr val="003366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020"/>
              </a:lnSpc>
            </a:pPr>
            <a:r>
              <a:rPr lang="de-DE" sz="2000" dirty="0"/>
              <a:t>9. November 2023</a:t>
            </a:r>
            <a:br>
              <a:rPr lang="de-DE" sz="2000" dirty="0"/>
            </a:br>
            <a:r>
              <a:rPr lang="de-DE" sz="2000" b="0" dirty="0"/>
              <a:t>9:30 – 14:00 Uhr</a:t>
            </a:r>
            <a:br>
              <a:rPr lang="de-DE" sz="2000" b="0" dirty="0"/>
            </a:br>
            <a:r>
              <a:rPr lang="de-DE" sz="2000" b="0" dirty="0"/>
              <a:t>in Münch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586B70C-D684-A39B-4352-0DE063A02010}"/>
              </a:ext>
            </a:extLst>
          </p:cNvPr>
          <p:cNvSpPr txBox="1"/>
          <p:nvPr/>
        </p:nvSpPr>
        <p:spPr>
          <a:xfrm>
            <a:off x="882652" y="4440085"/>
            <a:ext cx="259604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20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kostenfrei anmelden</a:t>
            </a:r>
          </a:p>
        </p:txBody>
      </p:sp>
    </p:spTree>
    <p:extLst>
      <p:ext uri="{BB962C8B-B14F-4D97-AF65-F5344CB8AC3E}">
        <p14:creationId xmlns:p14="http://schemas.microsoft.com/office/powerpoint/2010/main" val="39131311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ZroOkhcWrdmzHqHrIk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heme/theme1.xml><?xml version="1.0" encoding="utf-8"?>
<a:theme xmlns:a="http://schemas.openxmlformats.org/drawingml/2006/main" name="IHK_Master_2020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08000" tIns="72000" rIns="108000" bIns="72000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B3B2B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custClrLst>
    <a:custClr name="Titan 100%">
      <a:srgbClr val="575756"/>
    </a:custClr>
    <a:custClr name="Titan 80%">
      <a:srgbClr val="797978"/>
    </a:custClr>
    <a:custClr name="Titan 70%">
      <a:srgbClr val="8A8A89"/>
    </a:custClr>
    <a:custClr name="Titan 60%">
      <a:srgbClr val="9A9A9A"/>
    </a:custClr>
    <a:custClr name="Titan 50%">
      <a:srgbClr val="ABABAA"/>
    </a:custClr>
    <a:custClr name="Titan 40%">
      <a:srgbClr val="BCBCBB"/>
    </a:custClr>
    <a:custClr name="Titan 30%">
      <a:srgbClr val="CCCCCC"/>
    </a:custClr>
    <a:custClr name="Titan 20%">
      <a:srgbClr val="DDDDDD"/>
    </a:custClr>
    <a:custClr name="Titan 10%">
      <a:srgbClr val="EEEEEE"/>
    </a:custClr>
    <a:custClr name="White">
      <a:srgbClr val="FFFFFF"/>
    </a:custClr>
    <a:custClr name="Sky 100%">
      <a:srgbClr val="009ED4"/>
    </a:custClr>
    <a:custClr name="Sky 80%">
      <a:srgbClr val="33B1DD"/>
    </a:custClr>
    <a:custClr name="Sky 70%">
      <a:srgbClr val="4DBBE1"/>
    </a:custClr>
    <a:custClr name="Sky 60%">
      <a:srgbClr val="66C5E5"/>
    </a:custClr>
    <a:custClr name="Sky 50%">
      <a:srgbClr val="7FCEE9"/>
    </a:custClr>
    <a:custClr name="Sky 40%">
      <a:srgbClr val="99D8EE"/>
    </a:custClr>
    <a:custClr name="Sky 30%">
      <a:srgbClr val="B2E2F2"/>
    </a:custClr>
    <a:custClr name="Sky 20%">
      <a:srgbClr val="CCECF6"/>
    </a:custClr>
    <a:custClr name="Sky 10%">
      <a:srgbClr val="E5F5FB"/>
    </a:custClr>
    <a:custClr name="White">
      <a:srgbClr val="FFFFFF"/>
    </a:custClr>
    <a:custClr name="Ocean">
      <a:srgbClr val="003366"/>
    </a:custClr>
    <a:custClr name="Lime">
      <a:srgbClr val="76B82A"/>
    </a:custClr>
    <a:custClr name="Hibiskus">
      <a:srgbClr val="E40D2E"/>
    </a:custClr>
    <a:custClr name="Mauve">
      <a:srgbClr val="9F5098"/>
    </a:custClr>
    <a:custClr name="Mandarin">
      <a:srgbClr val="F0821A"/>
    </a:custClr>
    <a:custClr name="Sun">
      <a:srgbClr val="FFCE00"/>
    </a:custClr>
    <a:custClr name="Stone">
      <a:srgbClr val="B1B3B4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IHK_PPT-Template" id="{787B45A7-4684-4B2A-BE69-B785DDA374B8}" vid="{613B815C-7FA6-4395-AC25-FA10C12BB2AF}"/>
    </a:ext>
  </a:extLst>
</a:theme>
</file>

<file path=ppt/theme/theme2.xml><?xml version="1.0" encoding="utf-8"?>
<a:theme xmlns:a="http://schemas.openxmlformats.org/drawingml/2006/main" name="Office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37D5C4606E6754A85FF17C944E6CC99" ma:contentTypeVersion="16" ma:contentTypeDescription="Ein neues Dokument erstellen." ma:contentTypeScope="" ma:versionID="5563f78337bf7cd61a32d8860f100b3f">
  <xsd:schema xmlns:xsd="http://www.w3.org/2001/XMLSchema" xmlns:xs="http://www.w3.org/2001/XMLSchema" xmlns:p="http://schemas.microsoft.com/office/2006/metadata/properties" xmlns:ns1="http://schemas.microsoft.com/sharepoint/v3" xmlns:ns2="a04dc6fb-b7f1-4703-aa16-3aaf5a84df0f" xmlns:ns3="7055c22d-a8fe-4eff-a0e9-a5abd381db3c" targetNamespace="http://schemas.microsoft.com/office/2006/metadata/properties" ma:root="true" ma:fieldsID="94cf8e97cda412b509e24b9dadc9ef34" ns1:_="" ns2:_="" ns3:_="">
    <xsd:import namespace="http://schemas.microsoft.com/sharepoint/v3"/>
    <xsd:import namespace="a04dc6fb-b7f1-4703-aa16-3aaf5a84df0f"/>
    <xsd:import namespace="7055c22d-a8fe-4eff-a0e9-a5abd381db3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Eigenschaften der einheitlichen Compliancerichtlinie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I-Aktion der einheitlichen Compliancerichtlini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4dc6fb-b7f1-4703-aa16-3aaf5a84df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15451bee-5533-49a1-8dd5-f30616748e5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55c22d-a8fe-4eff-a0e9-a5abd381db3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80c1e279-5997-4643-bdcd-d4c146cb2c49}" ma:internalName="TaxCatchAll" ma:showField="CatchAllData" ma:web="7055c22d-a8fe-4eff-a0e9-a5abd381db3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a04dc6fb-b7f1-4703-aa16-3aaf5a84df0f">
      <Terms xmlns="http://schemas.microsoft.com/office/infopath/2007/PartnerControls"/>
    </lcf76f155ced4ddcb4097134ff3c332f>
    <TaxCatchAll xmlns="7055c22d-a8fe-4eff-a0e9-a5abd381db3c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B5375665-6A1B-4B9B-BA3C-3666AAB1AA0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04dc6fb-b7f1-4703-aa16-3aaf5a84df0f"/>
    <ds:schemaRef ds:uri="7055c22d-a8fe-4eff-a0e9-a5abd381db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7C5ACD0-5543-4016-A85D-7DB2BE337F9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17AC022-6E08-43A7-8D7D-865F0AE822EF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a04dc6fb-b7f1-4703-aa16-3aaf5a84df0f"/>
    <ds:schemaRef ds:uri="7055c22d-a8fe-4eff-a0e9-a5abd381db3c"/>
  </ds:schemaRefs>
</ds:datastoreItem>
</file>

<file path=docMetadata/LabelInfo.xml><?xml version="1.0" encoding="utf-8"?>
<clbl:labelList xmlns:clbl="http://schemas.microsoft.com/office/2020/mipLabelMetadata">
  <clbl:label id="{ae434e2b-6fb6-4857-b481-761902932f44}" enabled="0" method="" siteId="{ae434e2b-6fb6-4857-b481-761902932f4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HK_PPT-Template</Template>
  <TotalTime>0</TotalTime>
  <Words>24</Words>
  <Application>Microsoft Macintosh PowerPoint</Application>
  <PresentationFormat>Bildschirmpräsentation (16:9)</PresentationFormat>
  <Paragraphs>5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Source Sans Pro</vt:lpstr>
      <vt:lpstr>Wingdings</vt:lpstr>
      <vt:lpstr>IHK_Master_2020</vt:lpstr>
      <vt:lpstr>think-cell Folie</vt:lpstr>
      <vt:lpstr>PowerPoint-Präsentation</vt:lpstr>
    </vt:vector>
  </TitlesOfParts>
  <Company>IHK München und Oberbayer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titel  in max. zwei Zeilen</dc:title>
  <dc:creator>Susanne Kunzelmann</dc:creator>
  <cp:lastModifiedBy>Melanie Baldin</cp:lastModifiedBy>
  <cp:revision>2</cp:revision>
  <cp:lastPrinted>2020-07-13T13:33:26Z</cp:lastPrinted>
  <dcterms:created xsi:type="dcterms:W3CDTF">2023-10-17T11:32:43Z</dcterms:created>
  <dcterms:modified xsi:type="dcterms:W3CDTF">2023-10-26T11:25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7D5C4606E6754A85FF17C944E6CC99</vt:lpwstr>
  </property>
  <property fmtid="{D5CDD505-2E9C-101B-9397-08002B2CF9AE}" pid="3" name="MediaServiceImageTags">
    <vt:lpwstr/>
  </property>
</Properties>
</file>